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0"/>
  </p:notesMasterIdLst>
  <p:sldIdLst>
    <p:sldId id="258" r:id="rId3"/>
    <p:sldId id="259" r:id="rId4"/>
    <p:sldId id="260" r:id="rId5"/>
    <p:sldId id="261" r:id="rId6"/>
    <p:sldId id="262" r:id="rId7"/>
    <p:sldId id="263" r:id="rId8"/>
    <p:sldId id="264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6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84" y="4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9E0175-85E8-4360-B3A6-4DBA203BBC9F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86D04-47B0-4A91-AA15-F2409A74F3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956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8928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2081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8834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Relationship Id="rId9" Type="http://schemas.openxmlformats.org/officeDocument/2006/relationships/image" Target="../media/image11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8.png"/><Relationship Id="rId10" Type="http://schemas.openxmlformats.org/officeDocument/2006/relationships/image" Target="../media/image11.svg"/><Relationship Id="rId4" Type="http://schemas.openxmlformats.org/officeDocument/2006/relationships/image" Target="../media/image6.svg"/><Relationship Id="rId9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7.sv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4570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2839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5797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4949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880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5606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1690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1193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768276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537568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54354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2090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34543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53448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588094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1671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3134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182894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73074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94152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605970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47252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1577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195357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595215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68803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658710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648694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062663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978545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681543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582465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506268" y="2341640"/>
            <a:ext cx="5179465" cy="491801"/>
          </a:xfrm>
        </p:spPr>
        <p:txBody>
          <a:bodyPr lIns="0" tIns="0" rIns="0" bIns="0"/>
          <a:lstStyle>
            <a:lvl1pPr>
              <a:defRPr sz="3196" b="0" i="0">
                <a:solidFill>
                  <a:srgbClr val="45BB8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34437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1956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EAE4EF6A-B635-4E4E-A025-C6D1AEC70DFA}"/>
              </a:ext>
            </a:extLst>
          </p:cNvPr>
          <p:cNvSpPr/>
          <p:nvPr userDrawn="1"/>
        </p:nvSpPr>
        <p:spPr>
          <a:xfrm>
            <a:off x="0" y="0"/>
            <a:ext cx="12192000" cy="1321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7041F5A7-C5A0-DA44-B03A-8FB634834CF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57257" y="361406"/>
            <a:ext cx="3836448" cy="621949"/>
          </a:xfrm>
          <a:prstGeom prst="rect">
            <a:avLst/>
          </a:prstGeom>
        </p:spPr>
      </p:pic>
      <p:pic>
        <p:nvPicPr>
          <p:cNvPr id="4" name="Bilde 3" descr="Et bilde som inneholder skilt, tallerken, mat, tegning&#10;&#10;Automatisk generert beskrivelse">
            <a:extLst>
              <a:ext uri="{FF2B5EF4-FFF2-40B4-BE49-F238E27FC236}">
                <a16:creationId xmlns:a16="http://schemas.microsoft.com/office/drawing/2014/main" id="{924B5AF6-22B0-834D-8E71-A4CC3E8F009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747681" y="471464"/>
            <a:ext cx="1987062" cy="378975"/>
          </a:xfrm>
          <a:prstGeom prst="rect">
            <a:avLst/>
          </a:prstGeom>
        </p:spPr>
      </p:pic>
      <p:sp>
        <p:nvSpPr>
          <p:cNvPr id="8" name="Undertittel 2">
            <a:extLst>
              <a:ext uri="{FF2B5EF4-FFF2-40B4-BE49-F238E27FC236}">
                <a16:creationId xmlns:a16="http://schemas.microsoft.com/office/drawing/2014/main" id="{688394EE-23B4-684F-9D0A-110A6BCE7C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29508" y="3941855"/>
            <a:ext cx="5876523" cy="706194"/>
          </a:xfrm>
        </p:spPr>
        <p:txBody>
          <a:bodyPr>
            <a:normAutofit/>
          </a:bodyPr>
          <a:lstStyle>
            <a:lvl1pPr marL="0" indent="0" algn="l">
              <a:buNone/>
              <a:defRPr sz="1800" b="1" spc="5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Undertittel</a:t>
            </a:r>
          </a:p>
        </p:txBody>
      </p:sp>
      <p:sp>
        <p:nvSpPr>
          <p:cNvPr id="9" name="Tittel 10">
            <a:extLst>
              <a:ext uri="{FF2B5EF4-FFF2-40B4-BE49-F238E27FC236}">
                <a16:creationId xmlns:a16="http://schemas.microsoft.com/office/drawing/2014/main" id="{BBFFCD3F-3F0F-904D-845D-CA5EC6A16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29508" y="2967738"/>
            <a:ext cx="5876523" cy="974117"/>
          </a:xfrm>
        </p:spPr>
        <p:txBody>
          <a:bodyPr/>
          <a:lstStyle>
            <a:lvl1pPr>
              <a:defRPr sz="3600" b="1" spc="50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Tittel forside</a:t>
            </a:r>
          </a:p>
        </p:txBody>
      </p:sp>
      <p:sp>
        <p:nvSpPr>
          <p:cNvPr id="10" name="Plassholder for tekst 4">
            <a:extLst>
              <a:ext uri="{FF2B5EF4-FFF2-40B4-BE49-F238E27FC236}">
                <a16:creationId xmlns:a16="http://schemas.microsoft.com/office/drawing/2014/main" id="{D0CE85EE-6DED-EB41-B661-A76E1E66B0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29508" y="2261544"/>
            <a:ext cx="4949825" cy="431878"/>
          </a:xfrm>
        </p:spPr>
        <p:txBody>
          <a:bodyPr/>
          <a:lstStyle>
            <a:lvl1pPr>
              <a:defRPr sz="1200" i="1">
                <a:solidFill>
                  <a:schemeClr val="bg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nb-NO" dirty="0"/>
              <a:t>Navn og tittel</a:t>
            </a:r>
          </a:p>
        </p:txBody>
      </p:sp>
    </p:spTree>
    <p:extLst>
      <p:ext uri="{BB962C8B-B14F-4D97-AF65-F5344CB8AC3E}">
        <p14:creationId xmlns:p14="http://schemas.microsoft.com/office/powerpoint/2010/main" val="7036664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3C6C2FDA-CFEA-4C47-BC2A-98E779888B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78812"/>
            <a:ext cx="5910470" cy="4044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b-NO" dirty="0" err="1"/>
              <a:t>Title</a:t>
            </a:r>
            <a:endParaRPr lang="nb-NO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6D3B7DE4-038F-5544-AFEC-0B7241A41E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760930" y="471464"/>
            <a:ext cx="1960564" cy="37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78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ros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23BA9F31-AA7B-4356-90B6-F7DD7B5639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"/>
            <a:ext cx="12181173" cy="6857999"/>
          </a:xfrm>
          <a:prstGeom prst="rect">
            <a:avLst/>
          </a:prstGeom>
        </p:spPr>
      </p:pic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DD06922F-572C-4469-A148-9B312DE73C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46471" y="2844801"/>
            <a:ext cx="3979416" cy="333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600">
                <a:solidFill>
                  <a:schemeClr val="lt1"/>
                </a:solidFill>
              </a:defRPr>
            </a:lvl1pPr>
            <a:lvl2pPr marL="302352" indent="0">
              <a:buNone/>
              <a:defRPr/>
            </a:lvl2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33CE79A4-7FFD-4C29-935D-592DB45D4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6477" y="2600389"/>
            <a:ext cx="3979417" cy="225703"/>
          </a:xfrm>
        </p:spPr>
        <p:txBody>
          <a:bodyPr lIns="0" tIns="0" rIns="0" bIns="0">
            <a:spAutoFit/>
          </a:bodyPr>
          <a:lstStyle>
            <a:lvl1pPr>
              <a:defRPr sz="1600" b="1">
                <a:solidFill>
                  <a:schemeClr val="lt2"/>
                </a:solidFill>
              </a:defRPr>
            </a:lvl1pPr>
          </a:lstStyle>
          <a:p>
            <a:r>
              <a:rPr lang="nb-NO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09478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48868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547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1741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393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421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5316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image" Target="../media/image3.svg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2E8320-C5E2-45D2-8A51-B44DD4085B79}" type="datetimeFigureOut">
              <a:rPr lang="en-US" smtClean="0"/>
              <a:t>3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9A7E5B-D914-4DA8-8685-B407779E53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048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36" imgW="339" imgH="343" progId="TCLayout.ActiveDocument.1">
                  <p:embed/>
                </p:oleObj>
              </mc:Choice>
              <mc:Fallback>
                <p:oleObj name="think-cell Slide" r:id="rId36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=""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628835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8F2B10B-DB7F-4833-A21E-8C10D289F47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9038" y="3469710"/>
            <a:ext cx="5716962" cy="1525301"/>
          </a:xfrm>
        </p:spPr>
        <p:txBody>
          <a:bodyPr/>
          <a:lstStyle/>
          <a:p>
            <a:r>
              <a:rPr lang="en-GB" i="1" dirty="0" err="1" smtClean="0"/>
              <a:t>Kunnskapsutvikling</a:t>
            </a:r>
            <a:r>
              <a:rPr lang="en-GB" i="1" dirty="0"/>
              <a:t> </a:t>
            </a:r>
            <a:r>
              <a:rPr lang="en-GB" i="1" dirty="0" smtClean="0"/>
              <a:t>for </a:t>
            </a:r>
            <a:r>
              <a:rPr lang="en-GB" i="1" dirty="0" err="1" smtClean="0"/>
              <a:t>en</a:t>
            </a:r>
            <a:endParaRPr lang="en-GB" i="1" dirty="0"/>
          </a:p>
          <a:p>
            <a:r>
              <a:rPr lang="en-GB" i="1" dirty="0" err="1" smtClean="0"/>
              <a:t>verden</a:t>
            </a:r>
            <a:r>
              <a:rPr lang="en-GB" i="1" dirty="0" smtClean="0"/>
              <a:t> </a:t>
            </a:r>
            <a:r>
              <a:rPr lang="en-GB" i="1" dirty="0" err="1"/>
              <a:t>i</a:t>
            </a:r>
            <a:r>
              <a:rPr lang="en-GB" i="1" dirty="0"/>
              <a:t> </a:t>
            </a:r>
            <a:r>
              <a:rPr lang="en-GB" i="1" dirty="0" err="1" smtClean="0"/>
              <a:t>endring</a:t>
            </a:r>
            <a:r>
              <a:rPr lang="en-GB" dirty="0"/>
              <a:t>.</a:t>
            </a:r>
            <a:endParaRPr lang="en-GB" i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ECF7C3-5997-4F53-89A0-1E0C920CF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824" y="368449"/>
            <a:ext cx="5819055" cy="645806"/>
          </a:xfrm>
        </p:spPr>
        <p:txBody>
          <a:bodyPr/>
          <a:lstStyle/>
          <a:p>
            <a:r>
              <a:rPr lang="en-GB" sz="3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T MATEMATISK-NATURVITENSKAPELIGE</a:t>
            </a:r>
            <a:br>
              <a:rPr lang="en-GB" sz="3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sz="3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AKULTET</a:t>
            </a:r>
            <a:endParaRPr lang="en-GB" sz="3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974598B-CE47-41E3-9806-126937846B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4629886"/>
            <a:ext cx="5716962" cy="365125"/>
          </a:xfr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</a:t>
            </a:r>
            <a:endParaRPr kumimoji="0" lang="en-US" sz="1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ACC4C52-3DDF-4A57-9F88-9B0B759C12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13" name="Picture Placeholder 3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5" t="468" r="20836" b="468"/>
          <a:stretch/>
        </p:blipFill>
        <p:spPr>
          <a:xfrm>
            <a:off x="6200384" y="0"/>
            <a:ext cx="6050072" cy="6858000"/>
          </a:xfrm>
          <a:prstGeom prst="rect">
            <a:avLst/>
          </a:prstGeom>
        </p:spPr>
      </p:pic>
      <p:sp>
        <p:nvSpPr>
          <p:cNvPr id="11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679218" y="5870278"/>
            <a:ext cx="4152735" cy="182608"/>
          </a:xfrm>
        </p:spPr>
        <p:txBody>
          <a:bodyPr/>
          <a:lstStyle/>
          <a:p>
            <a:pPr algn="r"/>
            <a:r>
              <a:rPr lang="nb-NO" sz="750" dirty="0">
                <a:solidFill>
                  <a:schemeClr val="bg1"/>
                </a:solidFill>
              </a:rPr>
              <a:t>Morten </a:t>
            </a:r>
            <a:r>
              <a:rPr lang="nb-NO" sz="750" dirty="0" smtClean="0">
                <a:solidFill>
                  <a:schemeClr val="bg1"/>
                </a:solidFill>
              </a:rPr>
              <a:t>Brun </a:t>
            </a:r>
            <a:r>
              <a:rPr lang="nb-NO" sz="750" dirty="0">
                <a:solidFill>
                  <a:schemeClr val="bg1"/>
                </a:solidFill>
              </a:rPr>
              <a:t>/ UiO</a:t>
            </a:r>
            <a:endParaRPr lang="nb-NO" sz="750" dirty="0" smtClean="0">
              <a:solidFill>
                <a:schemeClr val="bg1"/>
              </a:solidFill>
            </a:endParaRPr>
          </a:p>
        </p:txBody>
      </p:sp>
      <p:pic>
        <p:nvPicPr>
          <p:cNvPr id="15" name="Content Placeholder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38" t="38877" r="16682" b="38799"/>
          <a:stretch/>
        </p:blipFill>
        <p:spPr>
          <a:xfrm>
            <a:off x="362621" y="6248333"/>
            <a:ext cx="1051480" cy="26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842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Content Placeholder 34"/>
          <p:cNvPicPr>
            <a:picLocks noGrp="1" noChangeAspect="1"/>
          </p:cNvPicPr>
          <p:nvPr>
            <p:ph sz="half" idx="2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346" y="2130089"/>
            <a:ext cx="2427684" cy="3236913"/>
          </a:xfrm>
        </p:spPr>
      </p:pic>
      <p:pic>
        <p:nvPicPr>
          <p:cNvPr id="36" name="Content Placeholder 35"/>
          <p:cNvPicPr>
            <a:picLocks noGrp="1" noChangeAspect="1"/>
          </p:cNvPicPr>
          <p:nvPr>
            <p:ph sz="half" idx="2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776" y="2101744"/>
            <a:ext cx="2427684" cy="3236913"/>
          </a:xfrm>
        </p:spPr>
      </p:pic>
      <p:pic>
        <p:nvPicPr>
          <p:cNvPr id="37" name="Content Placeholder 36"/>
          <p:cNvPicPr>
            <a:picLocks noGrp="1" noChangeAspect="1"/>
          </p:cNvPicPr>
          <p:nvPr>
            <p:ph sz="half" idx="2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1282" y="2101744"/>
            <a:ext cx="2427684" cy="3236913"/>
          </a:xfrm>
        </p:spPr>
      </p:pic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akultetsledelse</a:t>
            </a:r>
            <a:endParaRPr lang="nb-NO" dirty="0"/>
          </a:p>
        </p:txBody>
      </p:sp>
      <p:sp>
        <p:nvSpPr>
          <p:cNvPr id="3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667468" cy="250384"/>
          </a:xfr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 matematisk-naturvitenskapelige fakulte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385346" y="1468927"/>
            <a:ext cx="24276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kan Solveig </a:t>
            </a: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istensen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8029554" y="1412110"/>
            <a:ext cx="246190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edekan </a:t>
            </a: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danning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nut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tin Mørken</a:t>
            </a:r>
          </a:p>
        </p:txBody>
      </p:sp>
      <p:sp>
        <p:nvSpPr>
          <p:cNvPr id="44" name="Rectangle 43"/>
          <p:cNvSpPr/>
          <p:nvPr/>
        </p:nvSpPr>
        <p:spPr>
          <a:xfrm>
            <a:off x="4713617" y="1409863"/>
            <a:ext cx="246190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ekan </a:t>
            </a: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skning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jørn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mtveit</a:t>
            </a:r>
          </a:p>
        </p:txBody>
      </p:sp>
      <p:sp>
        <p:nvSpPr>
          <p:cNvPr id="3" name="Rectangle 2"/>
          <p:cNvSpPr/>
          <p:nvPr/>
        </p:nvSpPr>
        <p:spPr>
          <a:xfrm>
            <a:off x="1385346" y="5489555"/>
            <a:ext cx="965329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Anders </a:t>
            </a:r>
            <a:r>
              <a:rPr kumimoji="0" lang="nb-NO" sz="7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Lien / UiO </a:t>
            </a:r>
            <a:endParaRPr kumimoji="0" lang="nb-NO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S Shell Dlg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half" idx="2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9383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9" name="Content Placeholder 37"/>
          <p:cNvPicPr>
            <a:picLocks noGrp="1" noChangeAspect="1"/>
          </p:cNvPicPr>
          <p:nvPr>
            <p:ph sz="half" idx="2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945" y="2145281"/>
            <a:ext cx="2427684" cy="3236913"/>
          </a:xfrm>
        </p:spPr>
      </p:pic>
      <p:sp>
        <p:nvSpPr>
          <p:cNvPr id="20" name="Title 21"/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nb-NO" dirty="0" smtClean="0"/>
              <a:t>Fakultetsledelse</a:t>
            </a:r>
            <a:endParaRPr lang="nb-NO" dirty="0"/>
          </a:p>
        </p:txBody>
      </p:sp>
      <p:sp>
        <p:nvSpPr>
          <p:cNvPr id="2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667468" cy="250384"/>
          </a:xfr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 matematisk-naturvitenskapelige fakulte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Slide Number Placeholder 4"/>
          <p:cNvSpPr txBox="1">
            <a:spLocks/>
          </p:cNvSpPr>
          <p:nvPr/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159371" y="1379101"/>
            <a:ext cx="24483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r for næringsliv og samfunnskontakt Eva Karin Sandanger Dugstad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604945" y="1396545"/>
            <a:ext cx="246190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kultetsdirektør Jo Døhl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605395" y="5541589"/>
            <a:ext cx="965329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Anders </a:t>
            </a:r>
            <a:r>
              <a:rPr kumimoji="0" lang="nb-NO" sz="7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Lien / UiO </a:t>
            </a:r>
            <a:endParaRPr kumimoji="0" lang="nb-NO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S Shell Dlg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9371" y="2117765"/>
            <a:ext cx="2448322" cy="3264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666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53"/>
          <p:cNvSpPr>
            <a:spLocks noGrp="1"/>
          </p:cNvSpPr>
          <p:nvPr>
            <p:ph type="body" sz="quarter" idx="28"/>
          </p:nvPr>
        </p:nvSpPr>
        <p:spPr>
          <a:xfrm>
            <a:off x="360042" y="1081462"/>
            <a:ext cx="11465655" cy="494749"/>
          </a:xfrm>
          <a:solidFill>
            <a:schemeClr val="bg1">
              <a:lumMod val="85000"/>
            </a:schemeClr>
          </a:solidFill>
          <a:ln w="19050">
            <a:noFill/>
          </a:ln>
        </p:spPr>
        <p:txBody>
          <a:bodyPr anchor="ctr"/>
          <a:lstStyle/>
          <a:p>
            <a:pPr algn="ctr"/>
            <a:r>
              <a:rPr lang="nb-NO" sz="2000" dirty="0"/>
              <a:t>Digitalisering og beregningsorientert </a:t>
            </a:r>
            <a:r>
              <a:rPr lang="nb-NO" sz="2000" dirty="0" smtClean="0"/>
              <a:t>vitenskap</a:t>
            </a:r>
            <a:endParaRPr lang="nb-NO" sz="2000" dirty="0"/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29"/>
          </p:nvPr>
        </p:nvSpPr>
        <p:spPr>
          <a:xfrm>
            <a:off x="360043" y="1754971"/>
            <a:ext cx="3541314" cy="453974"/>
          </a:xfrm>
          <a:solidFill>
            <a:schemeClr val="bg1">
              <a:lumMod val="85000"/>
            </a:schemeClr>
          </a:solidFill>
          <a:ln w="19050">
            <a:noFill/>
          </a:ln>
        </p:spPr>
        <p:txBody>
          <a:bodyPr anchor="ctr"/>
          <a:lstStyle/>
          <a:p>
            <a:pPr marL="0" indent="0" algn="ctr">
              <a:buNone/>
            </a:pPr>
            <a:r>
              <a:rPr lang="nb-NO" sz="2000" dirty="0" smtClean="0"/>
              <a:t>Livsvitenskap</a:t>
            </a:r>
            <a:endParaRPr lang="nb-NO" sz="2000" dirty="0"/>
          </a:p>
        </p:txBody>
      </p:sp>
      <p:sp>
        <p:nvSpPr>
          <p:cNvPr id="56" name="Text Placeholder 55"/>
          <p:cNvSpPr>
            <a:spLocks noGrp="1"/>
          </p:cNvSpPr>
          <p:nvPr>
            <p:ph type="body" sz="quarter" idx="32"/>
          </p:nvPr>
        </p:nvSpPr>
        <p:spPr>
          <a:xfrm>
            <a:off x="4333840" y="1754971"/>
            <a:ext cx="3541314" cy="453974"/>
          </a:xfrm>
          <a:solidFill>
            <a:schemeClr val="bg1">
              <a:lumMod val="85000"/>
            </a:schemeClr>
          </a:solidFill>
          <a:ln w="19050">
            <a:noFill/>
          </a:ln>
        </p:spPr>
        <p:txBody>
          <a:bodyPr anchor="ctr"/>
          <a:lstStyle/>
          <a:p>
            <a:pPr marL="0" indent="0" algn="ctr">
              <a:buNone/>
            </a:pPr>
            <a:r>
              <a:rPr lang="nb-NO" sz="2000" dirty="0" smtClean="0"/>
              <a:t>Jord og rom</a:t>
            </a:r>
            <a:endParaRPr lang="nb-NO" sz="2000" dirty="0"/>
          </a:p>
        </p:txBody>
      </p:sp>
      <p:sp>
        <p:nvSpPr>
          <p:cNvPr id="57" name="Text Placeholder 56"/>
          <p:cNvSpPr>
            <a:spLocks noGrp="1"/>
          </p:cNvSpPr>
          <p:nvPr>
            <p:ph type="body" sz="quarter" idx="33"/>
          </p:nvPr>
        </p:nvSpPr>
        <p:spPr>
          <a:xfrm>
            <a:off x="8287512" y="1754971"/>
            <a:ext cx="3541314" cy="453974"/>
          </a:xfrm>
          <a:solidFill>
            <a:schemeClr val="bg1">
              <a:lumMod val="85000"/>
            </a:schemeClr>
          </a:solidFill>
          <a:ln w="19050">
            <a:noFill/>
          </a:ln>
        </p:spPr>
        <p:txBody>
          <a:bodyPr anchor="ctr"/>
          <a:lstStyle/>
          <a:p>
            <a:pPr marL="0" indent="0" algn="ctr">
              <a:buNone/>
            </a:pPr>
            <a:r>
              <a:rPr lang="nb-NO" sz="2000" dirty="0" smtClean="0"/>
              <a:t>Energi og materialer</a:t>
            </a:r>
            <a:endParaRPr lang="nb-NO" sz="2000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rategiske områder</a:t>
            </a:r>
            <a:endParaRPr lang="nb-NO" dirty="0"/>
          </a:p>
        </p:txBody>
      </p:sp>
      <p:pic>
        <p:nvPicPr>
          <p:cNvPr id="66" name="Content Placeholder 65"/>
          <p:cNvPicPr>
            <a:picLocks noGrp="1" noChangeAspect="1"/>
          </p:cNvPicPr>
          <p:nvPr>
            <p:ph sz="quarter" idx="40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17"/>
          <a:stretch/>
        </p:blipFill>
        <p:spPr>
          <a:xfrm>
            <a:off x="4333840" y="2434975"/>
            <a:ext cx="3541314" cy="3604877"/>
          </a:xfrm>
        </p:spPr>
      </p:pic>
      <p:pic>
        <p:nvPicPr>
          <p:cNvPr id="64" name="Content Placeholder 62"/>
          <p:cNvPicPr>
            <a:picLocks noGrp="1" noChangeAspect="1"/>
          </p:cNvPicPr>
          <p:nvPr>
            <p:ph sz="quarter" idx="39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29" b="13246"/>
          <a:stretch/>
        </p:blipFill>
        <p:spPr>
          <a:xfrm>
            <a:off x="360042" y="2434974"/>
            <a:ext cx="3505829" cy="3604880"/>
          </a:xfrm>
        </p:spPr>
      </p:pic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09" b="23891"/>
          <a:stretch/>
        </p:blipFill>
        <p:spPr>
          <a:xfrm>
            <a:off x="8287046" y="2434974"/>
            <a:ext cx="3538651" cy="3604879"/>
          </a:xfrm>
          <a:prstGeom prst="rect">
            <a:avLst/>
          </a:prstGeom>
        </p:spPr>
      </p:pic>
      <p:sp>
        <p:nvSpPr>
          <p:cNvPr id="6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667468" cy="250384"/>
          </a:xfr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 matematisk-naturvitenskapelige fakulte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0428" y="5739923"/>
            <a:ext cx="122822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Benjamin A. Ward / UiO </a:t>
            </a:r>
            <a:endParaRPr kumimoji="0" lang="nb-NO" sz="7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Shell Dlg" panose="020B0604020202020204" pitchFamily="34" charset="0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416115" y="5739923"/>
            <a:ext cx="825867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Galileo / NASA</a:t>
            </a:r>
            <a:endParaRPr kumimoji="0" lang="nb-NO" sz="7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Shell Dlg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423509" y="5739922"/>
            <a:ext cx="130837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Jaeyoon</a:t>
            </a:r>
            <a:r>
              <a:rPr kumimoji="0" lang="nb-NO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 </a:t>
            </a:r>
            <a:r>
              <a:rPr kumimoji="0" lang="nb-NO" sz="7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Jeong / </a:t>
            </a:r>
            <a:r>
              <a:rPr kumimoji="0" lang="nb-NO" sz="75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Shell Dlg" panose="020B0604020202020204" pitchFamily="34" charset="0"/>
                <a:ea typeface="+mn-ea"/>
                <a:cs typeface="+mn-cs"/>
              </a:rPr>
              <a:t>Unsplash</a:t>
            </a:r>
            <a:endParaRPr kumimoji="0" lang="nb-NO" sz="7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S Shell Dlg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1392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1180656"/>
          </a:xfrm>
        </p:spPr>
        <p:txBody>
          <a:bodyPr/>
          <a:lstStyle/>
          <a:p>
            <a:r>
              <a:rPr lang="nb-NO" dirty="0" smtClean="0"/>
              <a:t>Organisasjonskart</a:t>
            </a:r>
            <a:r>
              <a:rPr lang="nb-NO" dirty="0"/>
              <a:t/>
            </a:r>
            <a:br>
              <a:rPr lang="nb-NO" dirty="0"/>
            </a:br>
            <a:r>
              <a:rPr lang="nb-NO" sz="1800" dirty="0" smtClean="0"/>
              <a:t>Det matematisk-naturvitenskapelige</a:t>
            </a:r>
            <a:br>
              <a:rPr lang="nb-NO" sz="1800" dirty="0" smtClean="0"/>
            </a:br>
            <a:r>
              <a:rPr lang="nb-NO" sz="1800" dirty="0" smtClean="0"/>
              <a:t>fakultet</a:t>
            </a:r>
            <a:endParaRPr lang="nb-NO" sz="1800" dirty="0"/>
          </a:p>
        </p:txBody>
      </p:sp>
      <p:pic>
        <p:nvPicPr>
          <p:cNvPr id="8" name="Content Placeholder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38" t="38877" r="16682" b="38799"/>
          <a:stretch/>
        </p:blipFill>
        <p:spPr>
          <a:xfrm>
            <a:off x="10514621" y="336337"/>
            <a:ext cx="1051480" cy="266523"/>
          </a:xfrm>
          <a:prstGeom prst="rect">
            <a:avLst/>
          </a:prstGeom>
        </p:spPr>
      </p:pic>
      <p:pic>
        <p:nvPicPr>
          <p:cNvPr id="3" name="Content Placeholder 2"/>
          <p:cNvPicPr>
            <a:picLocks noGrp="1" noChangeAspect="1"/>
          </p:cNvPicPr>
          <p:nvPr>
            <p:ph sz="quarter" idx="28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0"/>
          <a:stretch/>
        </p:blipFill>
        <p:spPr>
          <a:xfrm>
            <a:off x="-36993" y="720436"/>
            <a:ext cx="12228993" cy="6137564"/>
          </a:xfrm>
        </p:spPr>
      </p:pic>
    </p:spTree>
    <p:extLst>
      <p:ext uri="{BB962C8B-B14F-4D97-AF65-F5344CB8AC3E}">
        <p14:creationId xmlns:p14="http://schemas.microsoft.com/office/powerpoint/2010/main" val="389555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85" t="-450" r="29749" b="1"/>
          <a:stretch/>
        </p:blipFill>
        <p:spPr>
          <a:xfrm>
            <a:off x="-71920" y="-30822"/>
            <a:ext cx="5921178" cy="6888822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0045" y="5870277"/>
            <a:ext cx="5188450" cy="188325"/>
          </a:xfrm>
        </p:spPr>
        <p:txBody>
          <a:bodyPr/>
          <a:lstStyle/>
          <a:p>
            <a:pPr algn="l"/>
            <a:r>
              <a:rPr lang="nb-NO" dirty="0" err="1">
                <a:solidFill>
                  <a:schemeClr val="tx1"/>
                </a:solidFill>
              </a:rPr>
              <a:t>Jarli</a:t>
            </a:r>
            <a:r>
              <a:rPr lang="nb-NO" dirty="0">
                <a:solidFill>
                  <a:schemeClr val="tx1"/>
                </a:solidFill>
              </a:rPr>
              <a:t> &amp; </a:t>
            </a:r>
            <a:r>
              <a:rPr lang="nb-NO" dirty="0" smtClean="0">
                <a:solidFill>
                  <a:schemeClr val="tx1"/>
                </a:solidFill>
              </a:rPr>
              <a:t>Jordan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smtClean="0">
                <a:solidFill>
                  <a:schemeClr val="tx1"/>
                </a:solidFill>
              </a:rPr>
              <a:t>/ UiO</a:t>
            </a:r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6342739" y="1577475"/>
            <a:ext cx="5489214" cy="4481128"/>
          </a:xfrm>
        </p:spPr>
        <p:txBody>
          <a:bodyPr/>
          <a:lstStyle/>
          <a:p>
            <a:pPr marL="0" indent="0">
              <a:buNone/>
            </a:pPr>
            <a:r>
              <a:rPr lang="nb-NO" dirty="0" smtClean="0"/>
              <a:t>6000 studenter</a:t>
            </a:r>
            <a:endParaRPr lang="nb-NO" dirty="0"/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r>
              <a:rPr lang="nb-NO" dirty="0" smtClean="0"/>
              <a:t>800 </a:t>
            </a:r>
            <a:r>
              <a:rPr lang="nb-NO" dirty="0" err="1" smtClean="0"/>
              <a:t>Ph.D</a:t>
            </a:r>
            <a:r>
              <a:rPr lang="nb-NO" dirty="0" smtClean="0"/>
              <a:t>.-kandidater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 smtClean="0"/>
              <a:t>1100 vitenskapelig ansatte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en-GB" dirty="0" smtClean="0"/>
              <a:t>550 </a:t>
            </a:r>
            <a:r>
              <a:rPr lang="en-GB" dirty="0" err="1" smtClean="0"/>
              <a:t>teknisk</a:t>
            </a:r>
            <a:r>
              <a:rPr lang="en-GB" dirty="0" smtClean="0"/>
              <a:t> / </a:t>
            </a:r>
            <a:r>
              <a:rPr lang="en-GB" dirty="0" err="1" smtClean="0"/>
              <a:t>administrativt</a:t>
            </a:r>
            <a:r>
              <a:rPr lang="en-GB" dirty="0" smtClean="0"/>
              <a:t> </a:t>
            </a:r>
            <a:r>
              <a:rPr lang="en-GB" dirty="0" err="1" smtClean="0"/>
              <a:t>ansatte</a:t>
            </a:r>
            <a:endParaRPr lang="en-GB" dirty="0" smtClean="0"/>
          </a:p>
          <a:p>
            <a:endParaRPr lang="nb-NO" dirty="0"/>
          </a:p>
        </p:txBody>
      </p:sp>
      <p:sp>
        <p:nvSpPr>
          <p:cNvPr id="16" name="Title 5"/>
          <p:cNvSpPr>
            <a:spLocks noGrp="1"/>
          </p:cNvSpPr>
          <p:nvPr>
            <p:ph type="title"/>
          </p:nvPr>
        </p:nvSpPr>
        <p:spPr>
          <a:xfrm>
            <a:off x="6342739" y="360045"/>
            <a:ext cx="5489214" cy="542658"/>
          </a:xfrm>
        </p:spPr>
        <p:txBody>
          <a:bodyPr/>
          <a:lstStyle/>
          <a:p>
            <a:r>
              <a:rPr lang="nb-NO" dirty="0" smtClean="0"/>
              <a:t>Folk ved MN-fakultet</a:t>
            </a:r>
            <a:endParaRPr lang="nb-NO" dirty="0"/>
          </a:p>
        </p:txBody>
      </p:sp>
      <p:sp>
        <p:nvSpPr>
          <p:cNvPr id="12" name="Footer Placeholder 3"/>
          <p:cNvSpPr txBox="1">
            <a:spLocks/>
          </p:cNvSpPr>
          <p:nvPr/>
        </p:nvSpPr>
        <p:spPr>
          <a:xfrm>
            <a:off x="7977107" y="6243181"/>
            <a:ext cx="1650597" cy="259232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2286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 matematisk-naturvitenskapelige fakulte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Placeholder 2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96" t="40010" r="17026" b="39467"/>
          <a:stretch/>
        </p:blipFill>
        <p:spPr>
          <a:xfrm>
            <a:off x="6342739" y="6255904"/>
            <a:ext cx="1046723" cy="246509"/>
          </a:xfrm>
          <a:prstGeom prst="rect">
            <a:avLst/>
          </a:prstGeom>
          <a:noFill/>
        </p:spPr>
      </p:pic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4706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66" t="4444" r="28749" b="839"/>
          <a:stretch/>
        </p:blipFill>
        <p:spPr>
          <a:xfrm>
            <a:off x="6270499" y="0"/>
            <a:ext cx="5976297" cy="6863137"/>
          </a:xfrm>
        </p:spPr>
      </p:pic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 smtClean="0">
                <a:solidFill>
                  <a:schemeClr val="bg1"/>
                </a:solidFill>
              </a:rPr>
              <a:t>Ukj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366442" y="1275347"/>
            <a:ext cx="5489214" cy="4785533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nb-NO" dirty="0" smtClean="0"/>
              <a:t>9 institutte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b-NO" dirty="0" smtClean="0"/>
              <a:t>8 sentr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b-NO" dirty="0" smtClean="0"/>
              <a:t>1 </a:t>
            </a:r>
            <a:r>
              <a:rPr lang="nb-NO" dirty="0"/>
              <a:t>Senter for fremragende </a:t>
            </a:r>
            <a:r>
              <a:rPr lang="nb-NO" dirty="0" smtClean="0"/>
              <a:t>utdanning</a:t>
            </a:r>
            <a:endParaRPr lang="nb-NO" dirty="0"/>
          </a:p>
          <a:p>
            <a:pPr marL="0" indent="0">
              <a:lnSpc>
                <a:spcPct val="150000"/>
              </a:lnSpc>
              <a:buNone/>
            </a:pPr>
            <a:r>
              <a:rPr lang="nb-NO" dirty="0" smtClean="0"/>
              <a:t>3 </a:t>
            </a:r>
            <a:r>
              <a:rPr lang="nb-NO" dirty="0"/>
              <a:t>Sentre for </a:t>
            </a:r>
            <a:r>
              <a:rPr lang="nb-NO" dirty="0" smtClean="0"/>
              <a:t>fremragende </a:t>
            </a:r>
            <a:r>
              <a:rPr lang="nb-NO" dirty="0"/>
              <a:t>forskning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nb-NO" dirty="0" smtClean="0"/>
              <a:t>2 </a:t>
            </a:r>
            <a:r>
              <a:rPr lang="nb-NO" dirty="0"/>
              <a:t>Sentre for forskningsdrevet </a:t>
            </a:r>
            <a:r>
              <a:rPr lang="nb-NO" dirty="0" smtClean="0"/>
              <a:t>innovasjon</a:t>
            </a:r>
            <a:endParaRPr lang="nb-NO" dirty="0"/>
          </a:p>
        </p:txBody>
      </p:sp>
      <p:sp>
        <p:nvSpPr>
          <p:cNvPr id="16" name="Title 5"/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/>
          <a:p>
            <a:r>
              <a:rPr lang="nb-NO" dirty="0" smtClean="0"/>
              <a:t>Forskning og utdanning</a:t>
            </a:r>
            <a:endParaRPr lang="nb-NO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667468" cy="250384"/>
          </a:xfr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 matematisk-naturvitenskapelige fakulte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735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EF1AA1B9-BC1F-45E4-9908-70FA5603ED5D}" vid="{0B1EB24D-9A29-4936-B027-FCD997E1BD8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61</TotalTime>
  <Words>157</Words>
  <Application>Microsoft Office PowerPoint</Application>
  <PresentationFormat>Widescreen</PresentationFormat>
  <Paragraphs>55</Paragraphs>
  <Slides>7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7</vt:i4>
      </vt:variant>
    </vt:vector>
  </HeadingPairs>
  <TitlesOfParts>
    <vt:vector size="17" baseType="lpstr">
      <vt:lpstr>Arial</vt:lpstr>
      <vt:lpstr>Arial, sans-serif</vt:lpstr>
      <vt:lpstr>Calibri</vt:lpstr>
      <vt:lpstr>Calibri Light</vt:lpstr>
      <vt:lpstr>MS Shell Dlg</vt:lpstr>
      <vt:lpstr>Times New Roman</vt:lpstr>
      <vt:lpstr>Wingdings</vt:lpstr>
      <vt:lpstr>Office Theme</vt:lpstr>
      <vt:lpstr>1_Office Theme</vt:lpstr>
      <vt:lpstr>think-cell Slide</vt:lpstr>
      <vt:lpstr>DET MATEMATISK-NATURVITENSKAPELIGE FAKULTET</vt:lpstr>
      <vt:lpstr>Fakultetsledelse</vt:lpstr>
      <vt:lpstr>Fakultetsledelse</vt:lpstr>
      <vt:lpstr>Strategiske områder</vt:lpstr>
      <vt:lpstr>Organisasjonskart Det matematisk-naturvitenskapelige fakultet</vt:lpstr>
      <vt:lpstr>Folk ved MN-fakultet</vt:lpstr>
      <vt:lpstr>Forskning og utdanning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gali Courtade</dc:creator>
  <cp:lastModifiedBy>Elin Thoresen</cp:lastModifiedBy>
  <cp:revision>5</cp:revision>
  <dcterms:created xsi:type="dcterms:W3CDTF">2022-08-08T07:27:26Z</dcterms:created>
  <dcterms:modified xsi:type="dcterms:W3CDTF">2023-03-14T09:09:12Z</dcterms:modified>
</cp:coreProperties>
</file>